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73" r:id="rId2"/>
    <p:sldId id="264" r:id="rId3"/>
    <p:sldId id="267" r:id="rId4"/>
    <p:sldId id="270" r:id="rId5"/>
    <p:sldId id="259" r:id="rId6"/>
    <p:sldId id="261" r:id="rId7"/>
    <p:sldId id="263" r:id="rId8"/>
    <p:sldId id="271" r:id="rId9"/>
    <p:sldId id="272" r:id="rId10"/>
    <p:sldId id="275" r:id="rId11"/>
    <p:sldId id="274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2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200" y="5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D44192-9EA6-AC45-9400-5E31FF1B5B59}" type="datetimeFigureOut">
              <a:rPr lang="en-US" smtClean="0"/>
              <a:t>5/18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44C9A-E69A-A24F-9029-3A9669FF4E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17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9215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Shape 17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r>
              <a:rPr lang="en-US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K TRACK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llo, my name is [NAME] and I want to thank you for taking time to speak with me today.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rtonworks Powers the Future of Data: data-in-motion, data-at-rest, and Modern Data Applications. 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day, I’ll tell you how we do that and how you can transform your business by managing your data with Hortonworks Connected Data platforms.</a:t>
            </a: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r>
              <a:rPr lang="en-US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[NEXT SLIDE]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 dirty="0">
              <a:solidFill>
                <a:srgbClr val="1E1E1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" name="Shape 172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rPr>
              <a:t>Hortonworks: Powering the Future of Dat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84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Shape 19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3876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8" name="Shape 22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5008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Shape 24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Shape 24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13900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3839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Shape 28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4" name="Shape 28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Shape 285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Shape 286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rtonworks: Powering the Future of Dat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1971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8" y="-12815"/>
            <a:ext cx="12225524" cy="687049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2712"/>
            <a:ext cx="6370320" cy="1308050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5182"/>
            <a:ext cx="6370320" cy="392415"/>
          </a:xfrm>
          <a:prstGeom prst="rect">
            <a:avLst/>
          </a:prstGeo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bg2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370085"/>
            <a:ext cx="6370320" cy="392415"/>
          </a:xfr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98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2540000"/>
            <a:ext cx="10995660" cy="654025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9705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701244" y="2540000"/>
            <a:ext cx="10995660" cy="654025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055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2286000"/>
            <a:ext cx="10995660" cy="872033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6666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9" name="TextBox 8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8932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102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55965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Slide" r:id="rId4" imgW="240" imgH="240" progId="TCLayout.ActiveDocument.1">
                  <p:embed/>
                </p:oleObj>
              </mc:Choice>
              <mc:Fallback>
                <p:oleObj name="think-cell Slide" r:id="rId4" imgW="240" imgH="24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434685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28968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72800" cy="1016000"/>
          </a:xfrm>
          <a:prstGeom prst="rect">
            <a:avLst/>
          </a:prstGeom>
        </p:spPr>
        <p:txBody>
          <a:bodyPr vert="horz" lIns="68547" tIns="34274" rIns="68547" bIns="34274" rtlCol="0" anchor="ctr"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/>
              <a:t>Headline Goes Here (maximum one line)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106435"/>
            <a:ext cx="10972800" cy="4954588"/>
          </a:xfrm>
          <a:prstGeom prst="rect">
            <a:avLst/>
          </a:prstGeom>
        </p:spPr>
        <p:txBody>
          <a:bodyPr vert="horz" lIns="68547" tIns="34274" rIns="68547" bIns="34274"/>
          <a:lstStyle>
            <a:lvl1pPr marL="0" indent="0">
              <a:spcBef>
                <a:spcPts val="1376"/>
              </a:spcBef>
              <a:buClr>
                <a:srgbClr val="69BE28"/>
              </a:buClr>
              <a:buFont typeface="Wingdings" charset="2"/>
              <a:buNone/>
              <a:defRPr sz="2400" b="1" i="0" baseline="0">
                <a:latin typeface="Arial"/>
                <a:cs typeface="Arial"/>
              </a:defRPr>
            </a:lvl1pPr>
            <a:lvl2pPr marL="0" indent="0" defTabSz="58706">
              <a:spcBef>
                <a:spcPts val="776"/>
              </a:spcBef>
              <a:buFont typeface="Lucida Grande"/>
              <a:buNone/>
              <a:tabLst/>
              <a:defRPr sz="2000">
                <a:solidFill>
                  <a:srgbClr val="1E1E1E"/>
                </a:solidFill>
              </a:defRPr>
            </a:lvl2pPr>
            <a:lvl3pPr marL="166603" indent="-166603" defTabSz="282434">
              <a:spcBef>
                <a:spcPts val="776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67">
                <a:solidFill>
                  <a:srgbClr val="1E1E1E"/>
                </a:solidFill>
              </a:defRPr>
            </a:lvl3pPr>
            <a:lvl4pPr marL="396688" indent="-171355" defTabSz="282434">
              <a:spcBef>
                <a:spcPts val="776"/>
              </a:spcBef>
              <a:spcAft>
                <a:spcPts val="0"/>
              </a:spcAft>
              <a:defRPr sz="1600">
                <a:solidFill>
                  <a:srgbClr val="1E1E1E"/>
                </a:solidFill>
              </a:defRPr>
            </a:lvl4pPr>
            <a:lvl5pPr marL="626757" indent="-176117" defTabSz="282434">
              <a:spcBef>
                <a:spcPts val="776"/>
              </a:spcBef>
              <a:spcAft>
                <a:spcPts val="0"/>
              </a:spcAft>
              <a:buFont typeface="Lucida Grande"/>
              <a:buChar char="-"/>
              <a:defRPr sz="146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 dirty="0"/>
              <a:t>Subhead Goes Here – 24pt</a:t>
            </a:r>
          </a:p>
          <a:p>
            <a:pPr lvl="1"/>
            <a:r>
              <a:rPr lang="en-US" dirty="0"/>
              <a:t>Subtopics Go Here – 20pt</a:t>
            </a:r>
          </a:p>
          <a:p>
            <a:pPr lvl="2"/>
            <a:r>
              <a:rPr lang="en-US" dirty="0"/>
              <a:t>Bulleted Subtopics Go Here – 18pt</a:t>
            </a:r>
          </a:p>
          <a:p>
            <a:pPr lvl="3"/>
            <a:r>
              <a:rPr lang="en-US" dirty="0"/>
              <a:t>Only use this level if necessary</a:t>
            </a:r>
          </a:p>
          <a:p>
            <a:pPr lvl="4"/>
            <a:r>
              <a:rPr lang="en-US" dirty="0"/>
              <a:t>You should never have to use this level</a:t>
            </a:r>
          </a:p>
        </p:txBody>
      </p:sp>
    </p:spTree>
    <p:extLst>
      <p:ext uri="{BB962C8B-B14F-4D97-AF65-F5344CB8AC3E}">
        <p14:creationId xmlns:p14="http://schemas.microsoft.com/office/powerpoint/2010/main" val="287187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34649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1833"/>
            <a:ext cx="9144000" cy="2387865"/>
          </a:xfrm>
        </p:spPr>
        <p:txBody>
          <a:bodyPr anchor="b"/>
          <a:lstStyle>
            <a:lvl1pPr algn="ctr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303"/>
            <a:ext cx="9144000" cy="1654968"/>
          </a:xfrm>
        </p:spPr>
        <p:txBody>
          <a:bodyPr/>
          <a:lstStyle>
            <a:lvl1pPr marL="0" indent="0" algn="ctr">
              <a:buNone/>
              <a:defRPr sz="2000"/>
            </a:lvl1pPr>
            <a:lvl2pPr marL="380985" indent="0" algn="ctr">
              <a:buNone/>
              <a:defRPr sz="1667"/>
            </a:lvl2pPr>
            <a:lvl3pPr marL="761970" indent="0" algn="ctr">
              <a:buNone/>
              <a:defRPr sz="1500"/>
            </a:lvl3pPr>
            <a:lvl4pPr marL="1142954" indent="0" algn="ctr">
              <a:buNone/>
              <a:defRPr sz="1333"/>
            </a:lvl4pPr>
            <a:lvl5pPr marL="1523939" indent="0" algn="ctr">
              <a:buNone/>
              <a:defRPr sz="1333"/>
            </a:lvl5pPr>
            <a:lvl6pPr marL="1904924" indent="0" algn="ctr">
              <a:buNone/>
              <a:defRPr sz="1333"/>
            </a:lvl6pPr>
            <a:lvl7pPr marL="2285909" indent="0" algn="ctr">
              <a:buNone/>
              <a:defRPr sz="1333"/>
            </a:lvl7pPr>
            <a:lvl8pPr marL="2666893" indent="0" algn="ctr">
              <a:buNone/>
              <a:defRPr sz="1333"/>
            </a:lvl8pPr>
            <a:lvl9pPr marL="3047878" indent="0" algn="ctr">
              <a:buNone/>
              <a:defRPr sz="13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729" y="6356615"/>
            <a:ext cx="2742407" cy="365125"/>
          </a:xfrm>
          <a:prstGeom prst="rect">
            <a:avLst/>
          </a:prstGeom>
        </p:spPr>
        <p:txBody>
          <a:bodyPr/>
          <a:lstStyle/>
          <a:p>
            <a:fld id="{0F55C535-12AB-4E29-B0F4-DDDEE19257C9}" type="datetimeFigureOut">
              <a:rPr lang="en-US" smtClean="0"/>
              <a:t>5/1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865" y="6356615"/>
            <a:ext cx="411427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865" y="6356615"/>
            <a:ext cx="2742406" cy="365125"/>
          </a:xfrm>
          <a:prstGeom prst="rect">
            <a:avLst/>
          </a:prstGeom>
        </p:spPr>
        <p:txBody>
          <a:bodyPr/>
          <a:lstStyle/>
          <a:p>
            <a:fld id="{A22B4091-7FE8-47AB-8F5A-717061C1F8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587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71293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" y="1016001"/>
            <a:ext cx="12192000" cy="1588"/>
          </a:xfrm>
          <a:prstGeom prst="line">
            <a:avLst/>
          </a:prstGeom>
          <a:ln>
            <a:solidFill>
              <a:srgbClr val="69BE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1" cy="1016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609600" y="1165226"/>
            <a:ext cx="10972801" cy="4954588"/>
          </a:xfrm>
          <a:prstGeom prst="rect">
            <a:avLst/>
          </a:prstGeom>
        </p:spPr>
        <p:txBody>
          <a:bodyPr vert="horz" lIns="121899" tIns="60949" rIns="121899" bIns="60949"/>
          <a:lstStyle>
            <a:lvl1pPr marL="224318" indent="-224318">
              <a:buClr>
                <a:srgbClr val="69BE28"/>
              </a:buClr>
              <a:defRPr sz="2400" b="1" i="0">
                <a:latin typeface="Arial"/>
                <a:cs typeface="Arial"/>
              </a:defRPr>
            </a:lvl1pPr>
            <a:lvl2pPr marL="755488" indent="-224318">
              <a:buFont typeface="Lucida Grande"/>
              <a:buChar char="–"/>
              <a:defRPr sz="2100"/>
            </a:lvl2pPr>
            <a:lvl3pPr marL="1441141" indent="-222203">
              <a:spcAft>
                <a:spcPts val="1600"/>
              </a:spcAft>
              <a:buFont typeface="Lucida Grande"/>
              <a:buChar char="–"/>
              <a:defRPr sz="1900"/>
            </a:lvl3pPr>
            <a:lvl4pPr marL="2056958" indent="-228551">
              <a:defRPr sz="1900"/>
            </a:lvl4pPr>
            <a:lvl5pPr marL="2672776" indent="-234901">
              <a:buFont typeface="Lucida Grande"/>
              <a:buChar char="-"/>
              <a:defRPr sz="1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583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6934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6" y="257507"/>
            <a:ext cx="10972801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61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6" y="1460502"/>
            <a:ext cx="10972801" cy="4540249"/>
          </a:xfrm>
          <a:prstGeom prst="rect">
            <a:avLst/>
          </a:prstGeom>
        </p:spPr>
        <p:txBody>
          <a:bodyPr lIns="0"/>
          <a:lstStyle>
            <a:lvl1pPr marL="342850" indent="-34285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1999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9243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5540"/>
            <a:ext cx="6370320" cy="1308050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8580"/>
            <a:ext cx="6370320" cy="392415"/>
          </a:xfrm>
          <a:prstGeom prst="rect">
            <a:avLst/>
          </a:prstGeom>
          <a:effectLst/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373880"/>
            <a:ext cx="6370320" cy="392415"/>
          </a:xfrm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934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neycomb_FADED(L)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192000" cy="685228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89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3171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63">
              <a:lnSpc>
                <a:spcPct val="90000"/>
              </a:lnSpc>
            </a:pPr>
            <a:fld id="{9484F7A5-6A8F-8446-A111-2677E1911D97}" type="slidenum">
              <a:rPr lang="en-US" sz="1000" spc="-70" smtClean="0">
                <a:solidFill>
                  <a:srgbClr val="DAD9D6">
                    <a:lumMod val="50000"/>
                  </a:srgbClr>
                </a:solidFill>
              </a:rPr>
              <a:pPr defTabSz="457163">
                <a:lnSpc>
                  <a:spcPct val="90000"/>
                </a:lnSpc>
              </a:pPr>
              <a:t>‹#›</a:t>
            </a:fld>
            <a:endParaRPr lang="en-US" sz="1000" spc="-70" dirty="0">
              <a:solidFill>
                <a:srgbClr val="DAD9D6">
                  <a:lumMod val="50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327">
              <a:buFont typeface="Arial"/>
              <a:buNone/>
              <a:defRPr/>
            </a:pPr>
            <a:r>
              <a:rPr lang="en-US" sz="900" dirty="0">
                <a:solidFill>
                  <a:srgbClr val="DAD9D6">
                    <a:lumMod val="50000"/>
                  </a:srgbClr>
                </a:solidFill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285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140251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71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920875"/>
            <a:ext cx="10972800" cy="4083522"/>
          </a:xfrm>
          <a:prstGeom prst="rect">
            <a:avLst/>
          </a:prstGeom>
        </p:spPr>
        <p:txBody>
          <a:bodyPr lIns="0"/>
          <a:lstStyle>
            <a:lvl1pPr marL="342858" indent="-342858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01245" y="1285877"/>
            <a:ext cx="10972800" cy="523875"/>
          </a:xfrm>
        </p:spPr>
        <p:txBody>
          <a:bodyPr tIns="0" bIns="0" anchor="b" anchorCtr="0"/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9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White">
  <p:cSld name="Blank - Whit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/>
          <p:nvPr/>
        </p:nvSpPr>
        <p:spPr>
          <a:xfrm>
            <a:off x="-115454" y="-92364"/>
            <a:ext cx="12422908" cy="704272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marL="0" marR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333" b="0" i="0" u="none" strike="noStrike" cap="none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" name="Shape 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74598" y="6122252"/>
            <a:ext cx="1328382" cy="5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19"/>
          <p:cNvSpPr txBox="1"/>
          <p:nvPr/>
        </p:nvSpPr>
        <p:spPr>
          <a:xfrm>
            <a:off x="693171" y="6476473"/>
            <a:ext cx="961947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000" b="0" i="0" u="none" strike="noStrike" cap="none" dirty="0">
              <a:solidFill>
                <a:srgbClr val="716E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20"/>
          <p:cNvSpPr txBox="1"/>
          <p:nvPr/>
        </p:nvSpPr>
        <p:spPr>
          <a:xfrm>
            <a:off x="1205868" y="6476473"/>
            <a:ext cx="3209418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716E66"/>
              </a:buClr>
              <a:buFont typeface="Arial"/>
              <a:buNone/>
            </a:pPr>
            <a:r>
              <a:rPr lang="en-US" sz="900" b="0" i="0" u="none" strike="noStrike" cap="none" dirty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t>© Hortonworks Inc. 2011 – 2017. All Rights Reserved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8629330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76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Section Slide">
  <p:cSld name="1_Green Section Slide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3646" y="-10474"/>
            <a:ext cx="12216381" cy="6865351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ctrTitle"/>
          </p:nvPr>
        </p:nvSpPr>
        <p:spPr>
          <a:xfrm>
            <a:off x="701244" y="2540000"/>
            <a:ext cx="10995660" cy="654025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000" b="1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30" name="Shape 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74597" y="6122251"/>
            <a:ext cx="1328382" cy="5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Shape 31"/>
          <p:cNvSpPr txBox="1"/>
          <p:nvPr/>
        </p:nvSpPr>
        <p:spPr>
          <a:xfrm>
            <a:off x="693170" y="6476474"/>
            <a:ext cx="125355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000" b="0" dirty="0">
              <a:solidFill>
                <a:srgbClr val="716E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Shape 32"/>
          <p:cNvSpPr txBox="1"/>
          <p:nvPr/>
        </p:nvSpPr>
        <p:spPr>
          <a:xfrm>
            <a:off x="1082041" y="6476474"/>
            <a:ext cx="2492669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716E66"/>
              </a:buClr>
              <a:buFont typeface="Arial"/>
              <a:buNone/>
            </a:pPr>
            <a:r>
              <a:rPr lang="en-US" sz="900" dirty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t>© Hortonworks Inc. 2011 – 2016. All Rights Reserved</a:t>
            </a:r>
            <a:endParaRPr sz="1833" dirty="0"/>
          </a:p>
        </p:txBody>
      </p:sp>
    </p:spTree>
    <p:extLst>
      <p:ext uri="{BB962C8B-B14F-4D97-AF65-F5344CB8AC3E}">
        <p14:creationId xmlns:p14="http://schemas.microsoft.com/office/powerpoint/2010/main" val="303435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1"/>
          </p:nvPr>
        </p:nvSpPr>
        <p:spPr>
          <a:xfrm>
            <a:off x="701245" y="1460501"/>
            <a:ext cx="10972800" cy="66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80985" marR="0" lvl="0" indent="-301613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Noto Sans Symbols"/>
              <a:buChar char="⬢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marR="0" lvl="1" indent="-31748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marR="0" lvl="2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marR="0" lvl="3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marR="0" lvl="4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»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marR="0" lvl="5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66893" marR="0" lvl="6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47878" marR="0" lvl="7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28863" marR="0" lvl="8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124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5540"/>
            <a:ext cx="6370320" cy="1308050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8580"/>
            <a:ext cx="6370320" cy="392415"/>
          </a:xfrm>
          <a:prstGeom prst="rect">
            <a:avLst/>
          </a:prstGeom>
          <a:effectLst/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01245" y="4373880"/>
            <a:ext cx="6370320" cy="392415"/>
          </a:xfrm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71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87897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052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37028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920876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01245" y="1504538"/>
            <a:ext cx="109728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42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6714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920876"/>
            <a:ext cx="53340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6340045" y="1920876"/>
            <a:ext cx="53340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701244" y="1504538"/>
            <a:ext cx="53340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340045" y="1504538"/>
            <a:ext cx="53340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1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4488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88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17511"/>
            <a:ext cx="2570100" cy="654025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tIns="0" rIns="0" bIns="0" anchor="t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995531" y="1350154"/>
            <a:ext cx="7197985" cy="369332"/>
          </a:xfrm>
          <a:prstGeom prst="rect">
            <a:avLst/>
          </a:prstGeom>
          <a:effectLst/>
        </p:spPr>
        <p:txBody>
          <a:bodyPr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bg2"/>
              </a:buClr>
              <a:buSzPct val="75000"/>
              <a:buFont typeface="Wingdings 2" pitchFamily="18" charset="2"/>
              <a:buNone/>
              <a:defRPr sz="2667" b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>
                <a:solidFill>
                  <a:schemeClr val="tx2"/>
                </a:solidFill>
              </a:defRPr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6478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5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871500"/>
            <a:ext cx="10972800" cy="348813"/>
          </a:xfrm>
          <a:prstGeom prst="rect">
            <a:avLst/>
          </a:prstGeom>
        </p:spPr>
        <p:txBody>
          <a:bodyPr lIns="0"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Wingdings 2" pitchFamily="18" charset="2"/>
              <a:buNone/>
              <a:defRPr sz="2667" b="1" baseline="0">
                <a:solidFill>
                  <a:schemeClr val="accent5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701244" y="2640725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706710" y="2418473"/>
            <a:ext cx="10959772" cy="0"/>
          </a:xfrm>
          <a:prstGeom prst="line">
            <a:avLst/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68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46891569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203299" cy="685799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1500" y="6293438"/>
            <a:ext cx="1328382" cy="56456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1040" y="256192"/>
            <a:ext cx="10972271" cy="101346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1040" y="1455420"/>
            <a:ext cx="10972271" cy="454914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500" y="6604000"/>
            <a:ext cx="12375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15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82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182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363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545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727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42886" indent="-342886" algn="l" defTabSz="457182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SzPct val="75000"/>
        <a:buFont typeface="Wingdings 2" pitchFamily="18" charset="2"/>
        <a:buChar char="Ã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20" indent="-285739" algn="l" defTabSz="457182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2pPr>
      <a:lvl3pPr marL="1142954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136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4pPr>
      <a:lvl5pPr marL="2057318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2514499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Shape 1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94755" y="-85607"/>
            <a:ext cx="12411164" cy="7030028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Shape 175"/>
          <p:cNvSpPr/>
          <p:nvPr/>
        </p:nvSpPr>
        <p:spPr>
          <a:xfrm>
            <a:off x="0" y="-85607"/>
            <a:ext cx="12411164" cy="7030028"/>
          </a:xfrm>
          <a:prstGeom prst="rect">
            <a:avLst/>
          </a:prstGeom>
          <a:gradFill>
            <a:gsLst>
              <a:gs pos="0">
                <a:srgbClr val="82A8BC">
                  <a:alpha val="0"/>
                </a:srgbClr>
              </a:gs>
              <a:gs pos="19000">
                <a:srgbClr val="82A8BC">
                  <a:alpha val="0"/>
                </a:srgbClr>
              </a:gs>
              <a:gs pos="93000">
                <a:srgbClr val="343434"/>
              </a:gs>
              <a:gs pos="100000">
                <a:srgbClr val="343434"/>
              </a:gs>
            </a:gsLst>
            <a:lin ang="6600000" scaled="0"/>
          </a:gra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6" name="Shape 17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7305" y="2678185"/>
            <a:ext cx="1354667" cy="476496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Shape 177"/>
          <p:cNvSpPr txBox="1"/>
          <p:nvPr/>
        </p:nvSpPr>
        <p:spPr>
          <a:xfrm>
            <a:off x="597304" y="3154680"/>
            <a:ext cx="10905500" cy="1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80000"/>
              </a:lnSpc>
              <a:buClr>
                <a:srgbClr val="E8E8E8"/>
              </a:buClr>
            </a:pPr>
            <a:r>
              <a:rPr lang="en-US" sz="4000" dirty="0">
                <a:solidFill>
                  <a:schemeClr val="tx2"/>
                </a:solidFill>
              </a:rPr>
              <a:t>Alarm Fatigue Demo Overview</a:t>
            </a:r>
            <a:endParaRPr sz="2667" dirty="0">
              <a:solidFill>
                <a:schemeClr val="tx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0386472"/>
      </p:ext>
    </p:extLst>
  </p:cSld>
  <p:clrMapOvr>
    <a:masterClrMapping/>
  </p:clrMapOvr>
  <p:transition spd="med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1D678-0BA7-F147-9960-970D174107F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scriptive Analy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E57EF-A859-3645-9883-EACE849A2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245" y="1460501"/>
            <a:ext cx="3429371" cy="4312338"/>
          </a:xfrm>
        </p:spPr>
        <p:txBody>
          <a:bodyPr>
            <a:normAutofit/>
          </a:bodyPr>
          <a:lstStyle/>
          <a:p>
            <a:r>
              <a:rPr lang="en-US" dirty="0"/>
              <a:t>Create time-series and real-time analytics dashboards, charts, and graphs</a:t>
            </a:r>
          </a:p>
          <a:p>
            <a:r>
              <a:rPr lang="en-US" dirty="0"/>
              <a:t>30+ visualization charts out of the box with customization capabilities</a:t>
            </a:r>
          </a:p>
          <a:p>
            <a:r>
              <a:rPr lang="en-US" dirty="0"/>
              <a:t>Powered by Druid and Supers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46CA68-0092-1C47-B309-A8B8BC5CE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0616" y="2259093"/>
            <a:ext cx="8061384" cy="2715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687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Shape 288"/>
          <p:cNvSpPr txBox="1">
            <a:spLocks noGrp="1"/>
          </p:cNvSpPr>
          <p:nvPr>
            <p:ph type="ctrTitle"/>
          </p:nvPr>
        </p:nvSpPr>
        <p:spPr>
          <a:xfrm>
            <a:off x="701244" y="2534230"/>
            <a:ext cx="10995660" cy="659796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Demo</a:t>
            </a:r>
            <a:endParaRPr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324326"/>
      </p:ext>
    </p:extLst>
  </p:cSld>
  <p:clrMapOvr>
    <a:masterClrMapping/>
  </p:clrMapOvr>
  <p:transition spd="med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larm Fatigue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10972800" cy="3031151"/>
          </a:xfrm>
        </p:spPr>
        <p:txBody>
          <a:bodyPr/>
          <a:lstStyle/>
          <a:p>
            <a:r>
              <a:rPr lang="en-US" dirty="0"/>
              <a:t>Alarm Fatigue occurs when one is exposed to a large number of alarms and becomes desensitized to them, leading to longer response times or missed alarms</a:t>
            </a:r>
          </a:p>
          <a:p>
            <a:r>
              <a:rPr lang="en-US" dirty="0"/>
              <a:t>This is prevalent in a high stress environment such as an Emergency room or an ICU</a:t>
            </a:r>
          </a:p>
          <a:p>
            <a:r>
              <a:rPr lang="en-US" dirty="0"/>
              <a:t>From 2010 to 2015 there were &gt; 130 preventable deaths from alarm fatigue</a:t>
            </a:r>
          </a:p>
          <a:p>
            <a:r>
              <a:rPr lang="en-US" dirty="0"/>
              <a:t>By reducing the number of alarms sent and only sending the most important ones, desensitization can be prevented and response time improv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64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0E987-BE9D-8749-8C51-C6DE364ECE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329B56-7FEC-804B-9D44-ACA3543ACB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5709283" cy="2710935"/>
          </a:xfrm>
        </p:spPr>
        <p:txBody>
          <a:bodyPr/>
          <a:lstStyle/>
          <a:p>
            <a:r>
              <a:rPr lang="en-US" dirty="0"/>
              <a:t>This Demo uses the following components:</a:t>
            </a:r>
          </a:p>
          <a:p>
            <a:pPr lvl="1"/>
            <a:r>
              <a:rPr lang="en-US" dirty="0" err="1"/>
              <a:t>NiFi</a:t>
            </a:r>
            <a:endParaRPr lang="en-US" dirty="0"/>
          </a:p>
          <a:p>
            <a:pPr lvl="1"/>
            <a:r>
              <a:rPr lang="en-US" dirty="0"/>
              <a:t>Kafka</a:t>
            </a:r>
          </a:p>
          <a:p>
            <a:pPr lvl="1"/>
            <a:r>
              <a:rPr lang="en-US" dirty="0"/>
              <a:t>Schema Registry</a:t>
            </a:r>
          </a:p>
          <a:p>
            <a:pPr lvl="1"/>
            <a:r>
              <a:rPr lang="en-US" dirty="0"/>
              <a:t>Streaming Analytics Manager</a:t>
            </a:r>
          </a:p>
          <a:p>
            <a:pPr lvl="1"/>
            <a:r>
              <a:rPr lang="en-US" dirty="0"/>
              <a:t>Hive</a:t>
            </a:r>
          </a:p>
          <a:p>
            <a:pPr lvl="1"/>
            <a:r>
              <a:rPr lang="en-US" dirty="0"/>
              <a:t>Druid</a:t>
            </a:r>
          </a:p>
          <a:p>
            <a:pPr lvl="1"/>
            <a:r>
              <a:rPr lang="en-US" dirty="0"/>
              <a:t>Superse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3F090D-57CB-834A-9A04-0D5227078EFC}"/>
              </a:ext>
            </a:extLst>
          </p:cNvPr>
          <p:cNvSpPr/>
          <p:nvPr/>
        </p:nvSpPr>
        <p:spPr>
          <a:xfrm>
            <a:off x="3122579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 err="1">
                <a:solidFill>
                  <a:schemeClr val="bg1"/>
                </a:solidFill>
              </a:rPr>
              <a:t>NiFi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56B762-D9C0-9E44-AF38-70A0AC81610D}"/>
              </a:ext>
            </a:extLst>
          </p:cNvPr>
          <p:cNvSpPr/>
          <p:nvPr/>
        </p:nvSpPr>
        <p:spPr>
          <a:xfrm>
            <a:off x="4802214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Kafk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B1FE1A-8C6A-9C46-8688-40D3B3541336}"/>
              </a:ext>
            </a:extLst>
          </p:cNvPr>
          <p:cNvSpPr/>
          <p:nvPr/>
        </p:nvSpPr>
        <p:spPr>
          <a:xfrm>
            <a:off x="6280825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SAM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CCE351-9796-EB44-8B52-C7E82A65BD74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4153710" y="4688715"/>
            <a:ext cx="648504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C7C14E48-6EEC-DA4E-8D54-F3CC4EF21F28}"/>
              </a:ext>
            </a:extLst>
          </p:cNvPr>
          <p:cNvSpPr/>
          <p:nvPr/>
        </p:nvSpPr>
        <p:spPr>
          <a:xfrm>
            <a:off x="1319719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 err="1">
                <a:solidFill>
                  <a:schemeClr val="bg1"/>
                </a:solidFill>
              </a:rPr>
              <a:t>MiniFi</a:t>
            </a:r>
            <a:r>
              <a:rPr lang="en-US" sz="1000" dirty="0">
                <a:solidFill>
                  <a:schemeClr val="bg1"/>
                </a:solidFill>
              </a:rPr>
              <a:t> / Simulated Dat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A8FBC4-ED62-7D49-AC90-225013308A3E}"/>
              </a:ext>
            </a:extLst>
          </p:cNvPr>
          <p:cNvSpPr/>
          <p:nvPr/>
        </p:nvSpPr>
        <p:spPr>
          <a:xfrm>
            <a:off x="3122579" y="5642280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Hiv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B4CB6E-894C-3943-92AD-319B01D9C56D}"/>
              </a:ext>
            </a:extLst>
          </p:cNvPr>
          <p:cNvSpPr/>
          <p:nvPr/>
        </p:nvSpPr>
        <p:spPr>
          <a:xfrm>
            <a:off x="6280824" y="5642279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HDF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2B371D-8124-6640-AB87-6EC35885B82F}"/>
              </a:ext>
            </a:extLst>
          </p:cNvPr>
          <p:cNvSpPr/>
          <p:nvPr/>
        </p:nvSpPr>
        <p:spPr>
          <a:xfrm>
            <a:off x="8012354" y="3959141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Druid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0CB405-817C-D443-8ED4-79D42D5C9CD3}"/>
              </a:ext>
            </a:extLst>
          </p:cNvPr>
          <p:cNvCxnSpPr>
            <a:cxnSpLocks/>
            <a:endCxn id="4" idx="1"/>
          </p:cNvCxnSpPr>
          <p:nvPr/>
        </p:nvCxnSpPr>
        <p:spPr>
          <a:xfrm flipV="1">
            <a:off x="2350850" y="4688715"/>
            <a:ext cx="771729" cy="97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C336F4B-2CD6-554D-A4E8-FA8410F001F1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5833345" y="4688715"/>
            <a:ext cx="44748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B1DCE35-66D2-704E-B553-000978C04ECE}"/>
              </a:ext>
            </a:extLst>
          </p:cNvPr>
          <p:cNvCxnSpPr>
            <a:cxnSpLocks/>
            <a:stCxn id="4" idx="2"/>
            <a:endCxn id="17" idx="0"/>
          </p:cNvCxnSpPr>
          <p:nvPr/>
        </p:nvCxnSpPr>
        <p:spPr>
          <a:xfrm>
            <a:off x="3638145" y="4980544"/>
            <a:ext cx="0" cy="661736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569088C-BB7E-514D-BE7C-23D0A2165881}"/>
              </a:ext>
            </a:extLst>
          </p:cNvPr>
          <p:cNvCxnSpPr>
            <a:cxnSpLocks/>
            <a:stCxn id="6" idx="2"/>
            <a:endCxn id="18" idx="0"/>
          </p:cNvCxnSpPr>
          <p:nvPr/>
        </p:nvCxnSpPr>
        <p:spPr>
          <a:xfrm flipH="1">
            <a:off x="6796390" y="4980544"/>
            <a:ext cx="1" cy="661735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090A03-5B8D-0843-9BE0-CB65FD1C95F0}"/>
              </a:ext>
            </a:extLst>
          </p:cNvPr>
          <p:cNvCxnSpPr>
            <a:cxnSpLocks/>
            <a:stCxn id="6" idx="3"/>
            <a:endCxn id="19" idx="1"/>
          </p:cNvCxnSpPr>
          <p:nvPr/>
        </p:nvCxnSpPr>
        <p:spPr>
          <a:xfrm flipV="1">
            <a:off x="7311956" y="4250971"/>
            <a:ext cx="700398" cy="437744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325A01B-D8F5-3F49-9DC2-9D5F964EFA48}"/>
              </a:ext>
            </a:extLst>
          </p:cNvPr>
          <p:cNvSpPr/>
          <p:nvPr/>
        </p:nvSpPr>
        <p:spPr>
          <a:xfrm>
            <a:off x="8012355" y="478597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Email Notificati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230F3CB-D8FA-994A-BE9E-62A92AB80E97}"/>
              </a:ext>
            </a:extLst>
          </p:cNvPr>
          <p:cNvCxnSpPr>
            <a:cxnSpLocks/>
            <a:stCxn id="6" idx="3"/>
            <a:endCxn id="35" idx="1"/>
          </p:cNvCxnSpPr>
          <p:nvPr/>
        </p:nvCxnSpPr>
        <p:spPr>
          <a:xfrm>
            <a:off x="7311956" y="4688715"/>
            <a:ext cx="700399" cy="38909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0A76D09-CA07-9344-8E54-8D54E391E454}"/>
              </a:ext>
            </a:extLst>
          </p:cNvPr>
          <p:cNvCxnSpPr>
            <a:cxnSpLocks/>
            <a:stCxn id="19" idx="3"/>
            <a:endCxn id="48" idx="1"/>
          </p:cNvCxnSpPr>
          <p:nvPr/>
        </p:nvCxnSpPr>
        <p:spPr>
          <a:xfrm flipV="1">
            <a:off x="9043485" y="4250970"/>
            <a:ext cx="700398" cy="1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2199C134-875C-5E4F-BC10-FE06ED495202}"/>
              </a:ext>
            </a:extLst>
          </p:cNvPr>
          <p:cNvSpPr/>
          <p:nvPr/>
        </p:nvSpPr>
        <p:spPr>
          <a:xfrm>
            <a:off x="9743883" y="3959140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Superset Dashboard</a:t>
            </a:r>
          </a:p>
        </p:txBody>
      </p:sp>
    </p:spTree>
    <p:extLst>
      <p:ext uri="{BB962C8B-B14F-4D97-AF65-F5344CB8AC3E}">
        <p14:creationId xmlns:p14="http://schemas.microsoft.com/office/powerpoint/2010/main" val="388695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E43D9-B4B2-5D4C-BB7A-AA3B5E326B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ache </a:t>
            </a:r>
            <a:r>
              <a:rPr lang="en-US" dirty="0" err="1"/>
              <a:t>NiFi</a:t>
            </a:r>
            <a:endParaRPr lang="en-US" dirty="0"/>
          </a:p>
        </p:txBody>
      </p:sp>
      <p:pic>
        <p:nvPicPr>
          <p:cNvPr id="3" name="Shape 195">
            <a:extLst>
              <a:ext uri="{FF2B5EF4-FFF2-40B4-BE49-F238E27FC236}">
                <a16:creationId xmlns:a16="http://schemas.microsoft.com/office/drawing/2014/main" id="{BBA065B3-56C1-2949-9174-51C7E8A7DCD8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70091" y="2704586"/>
            <a:ext cx="1756667" cy="108104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11DE606-F6B2-924C-80A7-47148AB18F7B}"/>
              </a:ext>
            </a:extLst>
          </p:cNvPr>
          <p:cNvSpPr txBox="1"/>
          <p:nvPr/>
        </p:nvSpPr>
        <p:spPr>
          <a:xfrm>
            <a:off x="928254" y="5029200"/>
            <a:ext cx="9641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NiFi gives users the unique ability to move and transform data.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Very simple drag and drop interface for processors allows a simple user experience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Extensible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Maintains data proven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9EDD54-3904-BF48-ACD6-A05CD3A1B2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401" y="1172678"/>
            <a:ext cx="7297131" cy="3644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93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Shape 201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Introducing Hortonworks Streaming Analytics Manager (SAM)</a:t>
            </a:r>
            <a:endParaRPr/>
          </a:p>
        </p:txBody>
      </p:sp>
      <p:sp>
        <p:nvSpPr>
          <p:cNvPr id="202" name="Shape 202"/>
          <p:cNvSpPr/>
          <p:nvPr/>
        </p:nvSpPr>
        <p:spPr>
          <a:xfrm rot="5400000">
            <a:off x="4119791" y="2209182"/>
            <a:ext cx="4286467" cy="4234403"/>
          </a:xfrm>
          <a:prstGeom prst="blockArc">
            <a:avLst>
              <a:gd name="adj1" fmla="val 17982677"/>
              <a:gd name="adj2" fmla="val 10870797"/>
              <a:gd name="adj3" fmla="val 29514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03" name="Shape 203"/>
          <p:cNvGrpSpPr/>
          <p:nvPr/>
        </p:nvGrpSpPr>
        <p:grpSpPr>
          <a:xfrm>
            <a:off x="6643704" y="2904416"/>
            <a:ext cx="1618433" cy="958649"/>
            <a:chOff x="6276013" y="1672790"/>
            <a:chExt cx="1942120" cy="1150379"/>
          </a:xfrm>
        </p:grpSpPr>
        <p:sp>
          <p:nvSpPr>
            <p:cNvPr id="204" name="Shape 204"/>
            <p:cNvSpPr txBox="1"/>
            <p:nvPr/>
          </p:nvSpPr>
          <p:spPr>
            <a:xfrm>
              <a:off x="6276013" y="1672790"/>
              <a:ext cx="906190" cy="4179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188" tIns="76188" rIns="76188" bIns="76188" anchor="t" anchorCtr="0">
              <a:noAutofit/>
            </a:bodyPr>
            <a:lstStyle/>
            <a:p>
              <a:pPr algn="ctr"/>
              <a:endParaRPr sz="1167" b="1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Shape 205"/>
            <p:cNvSpPr/>
            <p:nvPr/>
          </p:nvSpPr>
          <p:spPr>
            <a:xfrm>
              <a:off x="6340324" y="1976442"/>
              <a:ext cx="1877809" cy="84672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152396" tIns="152396" rIns="152396" bIns="152396" anchor="ctr" anchorCtr="0">
              <a:noAutofit/>
            </a:bodyPr>
            <a:lstStyle/>
            <a:p>
              <a:pPr>
                <a:lnSpc>
                  <a:spcPct val="85000"/>
                </a:lnSpc>
              </a:pPr>
              <a:r>
                <a:rPr lang="en-US" sz="1167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treaming Analytics Manager</a:t>
              </a:r>
              <a:endParaRPr sz="1833"/>
            </a:p>
          </p:txBody>
        </p:sp>
      </p:grpSp>
      <p:sp>
        <p:nvSpPr>
          <p:cNvPr id="206" name="Shape 206"/>
          <p:cNvSpPr/>
          <p:nvPr/>
        </p:nvSpPr>
        <p:spPr>
          <a:xfrm>
            <a:off x="5328720" y="3423327"/>
            <a:ext cx="1819959" cy="1819959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7" name="Shape 2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80230" y="1729127"/>
            <a:ext cx="2850486" cy="3953585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Shape 208"/>
          <p:cNvSpPr txBox="1"/>
          <p:nvPr/>
        </p:nvSpPr>
        <p:spPr>
          <a:xfrm>
            <a:off x="1195813" y="2332917"/>
            <a:ext cx="4627500" cy="1982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1">
              <a:lnSpc>
                <a:spcPct val="85000"/>
              </a:lnSpc>
            </a:pPr>
            <a:r>
              <a:rPr lang="en-US" sz="3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ign, develop, deploy and manage streaming analytics app with a drag-and-drop paradigm </a:t>
            </a:r>
            <a:endParaRPr sz="30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0446274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hape 230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Stream Builder</a:t>
            </a:r>
            <a:endParaRPr/>
          </a:p>
        </p:txBody>
      </p:sp>
      <p:sp>
        <p:nvSpPr>
          <p:cNvPr id="231" name="Shape 231"/>
          <p:cNvSpPr txBox="1">
            <a:spLocks noGrp="1"/>
          </p:cNvSpPr>
          <p:nvPr>
            <p:ph type="body" idx="1"/>
          </p:nvPr>
        </p:nvSpPr>
        <p:spPr>
          <a:xfrm>
            <a:off x="177180" y="1262933"/>
            <a:ext cx="5643250" cy="3499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pPr marL="342886" indent="-342886">
              <a:spcBef>
                <a:spcPts val="0"/>
              </a:spcBef>
            </a:pPr>
            <a:r>
              <a:rPr lang="en-US" dirty="0"/>
              <a:t>Builder components, shown on the canvas palette, are the building blocks used by the app developer to build streaming apps. </a:t>
            </a:r>
            <a:endParaRPr dirty="0"/>
          </a:p>
          <a:p>
            <a:pPr marL="342886" indent="-342886"/>
            <a:r>
              <a:rPr lang="en-US" dirty="0"/>
              <a:t>Drag and drop to build a working streaming application without writing a single line of code.</a:t>
            </a:r>
            <a:endParaRPr dirty="0"/>
          </a:p>
          <a:p>
            <a:pPr marL="342886" indent="-342886"/>
            <a:r>
              <a:rPr lang="en-US" dirty="0"/>
              <a:t>4 Types of Components: Sources, Processors, Sinks and Custom</a:t>
            </a:r>
            <a:endParaRPr dirty="0"/>
          </a:p>
          <a:p>
            <a:pPr marL="742919" lvl="1" indent="-160859">
              <a:buNone/>
            </a:pP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07399F-8BD8-2E44-8FF4-6D7F535CCE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9788" y="3012683"/>
            <a:ext cx="6309757" cy="313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360449"/>
      </p:ext>
    </p:extLst>
  </p:cSld>
  <p:clrMapOvr>
    <a:masterClrMapping/>
  </p:clrMapOvr>
  <p:transition spd="med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Shape 247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SAM is All about Doing Real-Time Analytics on Streams</a:t>
            </a:r>
            <a:endParaRPr/>
          </a:p>
        </p:txBody>
      </p:sp>
      <p:sp>
        <p:nvSpPr>
          <p:cNvPr id="248" name="Shape 248"/>
          <p:cNvSpPr/>
          <p:nvPr/>
        </p:nvSpPr>
        <p:spPr>
          <a:xfrm>
            <a:off x="1332341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scriptive Analytics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" name="Shape 249"/>
          <p:cNvSpPr/>
          <p:nvPr/>
        </p:nvSpPr>
        <p:spPr>
          <a:xfrm>
            <a:off x="3592195" y="1271707"/>
            <a:ext cx="4218000" cy="75125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127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333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 Analytics</a:t>
            </a:r>
            <a:endParaRPr sz="333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" name="Shape 250"/>
          <p:cNvSpPr/>
          <p:nvPr/>
        </p:nvSpPr>
        <p:spPr>
          <a:xfrm>
            <a:off x="4440558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dictive Analytics 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" name="Shape 251"/>
          <p:cNvSpPr/>
          <p:nvPr/>
        </p:nvSpPr>
        <p:spPr>
          <a:xfrm>
            <a:off x="7548777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scriptive Analytics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Shape 252"/>
          <p:cNvSpPr/>
          <p:nvPr/>
        </p:nvSpPr>
        <p:spPr>
          <a:xfrm>
            <a:off x="1321813" y="3594678"/>
            <a:ext cx="2685750" cy="88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should we do right now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Shape 253"/>
          <p:cNvSpPr/>
          <p:nvPr/>
        </p:nvSpPr>
        <p:spPr>
          <a:xfrm>
            <a:off x="4440558" y="3594678"/>
            <a:ext cx="2685750" cy="88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could happen now/soon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Shape 254"/>
          <p:cNvSpPr/>
          <p:nvPr/>
        </p:nvSpPr>
        <p:spPr>
          <a:xfrm>
            <a:off x="7548777" y="3594678"/>
            <a:ext cx="2685750" cy="88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is happening right now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Shape 255"/>
          <p:cNvSpPr/>
          <p:nvPr/>
        </p:nvSpPr>
        <p:spPr>
          <a:xfrm>
            <a:off x="1321813" y="4626958"/>
            <a:ext cx="2685750" cy="149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vent correlation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nrichment, routing &amp; filtering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attern matching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ule-based classification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" name="Shape 256"/>
          <p:cNvSpPr/>
          <p:nvPr/>
        </p:nvSpPr>
        <p:spPr>
          <a:xfrm>
            <a:off x="4440563" y="4626958"/>
            <a:ext cx="2685750" cy="149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atistical aggregations with UDAF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park mllib model deployment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Shape 257"/>
          <p:cNvSpPr/>
          <p:nvPr/>
        </p:nvSpPr>
        <p:spPr>
          <a:xfrm>
            <a:off x="7548771" y="4626958"/>
            <a:ext cx="2685750" cy="149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ime series dashboards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isualizations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LAP queries via Druid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5561910"/>
      </p:ext>
    </p:extLst>
  </p:cSld>
  <p:clrMapOvr>
    <a:masterClrMapping/>
  </p:clrMapOvr>
  <p:transition spd="med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A58B7-E81F-9445-AF4F-DAB70B25B7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0409" y="468243"/>
            <a:ext cx="10972800" cy="392415"/>
          </a:xfrm>
        </p:spPr>
        <p:txBody>
          <a:bodyPr>
            <a:normAutofit fontScale="90000"/>
          </a:bodyPr>
          <a:lstStyle/>
          <a:p>
            <a:r>
              <a:rPr lang="en-US" dirty="0"/>
              <a:t>Apache Hive: Fast Fac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29E5F9-3E53-E940-89A6-9E623CC71303}"/>
              </a:ext>
            </a:extLst>
          </p:cNvPr>
          <p:cNvGrpSpPr/>
          <p:nvPr/>
        </p:nvGrpSpPr>
        <p:grpSpPr>
          <a:xfrm>
            <a:off x="2129509" y="1992592"/>
            <a:ext cx="7879016" cy="3339149"/>
            <a:chOff x="2171681" y="1996793"/>
            <a:chExt cx="10293594" cy="423601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4B1491E-DE85-CC44-8232-D2F6C1F59A2E}"/>
                </a:ext>
              </a:extLst>
            </p:cNvPr>
            <p:cNvGrpSpPr/>
            <p:nvPr/>
          </p:nvGrpSpPr>
          <p:grpSpPr>
            <a:xfrm>
              <a:off x="2171681" y="1996793"/>
              <a:ext cx="10293594" cy="1534684"/>
              <a:chOff x="2171681" y="4698122"/>
              <a:chExt cx="10293594" cy="1534684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6D9B92D-4BB8-5840-B2EF-17BAB9A28808}"/>
                  </a:ext>
                </a:extLst>
              </p:cNvPr>
              <p:cNvGrpSpPr/>
              <p:nvPr/>
            </p:nvGrpSpPr>
            <p:grpSpPr>
              <a:xfrm>
                <a:off x="2171681" y="4698122"/>
                <a:ext cx="3956299" cy="1534684"/>
                <a:chOff x="3313021" y="3450963"/>
                <a:chExt cx="3956299" cy="1534684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2D37ED59-2E37-134A-B690-7642002D62FE}"/>
                    </a:ext>
                  </a:extLst>
                </p:cNvPr>
                <p:cNvSpPr txBox="1"/>
                <p:nvPr/>
              </p:nvSpPr>
              <p:spPr>
                <a:xfrm>
                  <a:off x="3313021" y="3450963"/>
                  <a:ext cx="3956299" cy="1534684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b="1" dirty="0">
                      <a:solidFill>
                        <a:schemeClr val="accent6"/>
                      </a:solidFill>
                    </a:rPr>
                    <a:t>Most Queries Per Hour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endParaRPr lang="en-US" sz="1944" dirty="0"/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2222" b="1" dirty="0"/>
                    <a:t>100,000 Queries Per Hour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dirty="0"/>
                    <a:t>(Yahoo Japan)</a:t>
                  </a:r>
                </a:p>
              </p:txBody>
            </p: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D35028CE-640E-A64B-92F8-7160A8BC62FC}"/>
                    </a:ext>
                  </a:extLst>
                </p:cNvPr>
                <p:cNvCxnSpPr/>
                <p:nvPr/>
              </p:nvCxnSpPr>
              <p:spPr>
                <a:xfrm>
                  <a:off x="3474465" y="3864215"/>
                  <a:ext cx="3583325" cy="9071"/>
                </a:xfrm>
                <a:prstGeom prst="line">
                  <a:avLst/>
                </a:prstGeom>
                <a:ln w="28575">
                  <a:solidFill>
                    <a:schemeClr val="accent4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47DE124B-0DD0-6F43-A1A9-AEE9A8C4E99D}"/>
                  </a:ext>
                </a:extLst>
              </p:cNvPr>
              <p:cNvGrpSpPr/>
              <p:nvPr/>
            </p:nvGrpSpPr>
            <p:grpSpPr>
              <a:xfrm>
                <a:off x="8080492" y="4698122"/>
                <a:ext cx="4384783" cy="1534684"/>
                <a:chOff x="3098782" y="3450963"/>
                <a:chExt cx="4384783" cy="1534684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4E879F46-4E7D-BD48-9A87-15383ADF4A6F}"/>
                    </a:ext>
                  </a:extLst>
                </p:cNvPr>
                <p:cNvSpPr txBox="1"/>
                <p:nvPr/>
              </p:nvSpPr>
              <p:spPr>
                <a:xfrm>
                  <a:off x="3098782" y="3450963"/>
                  <a:ext cx="4384783" cy="1534684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b="1" dirty="0">
                      <a:solidFill>
                        <a:schemeClr val="accent6"/>
                      </a:solidFill>
                    </a:rPr>
                    <a:t>Analytics Performance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endParaRPr lang="en-US" sz="1944" dirty="0"/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2222" b="1" dirty="0"/>
                    <a:t>100 Million rows/s Per Node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dirty="0"/>
                    <a:t>(with Hive LLAP)</a:t>
                  </a:r>
                </a:p>
              </p:txBody>
            </p: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36595A17-FEBA-D042-A406-C8549E12C820}"/>
                    </a:ext>
                  </a:extLst>
                </p:cNvPr>
                <p:cNvCxnSpPr/>
                <p:nvPr/>
              </p:nvCxnSpPr>
              <p:spPr>
                <a:xfrm>
                  <a:off x="3474465" y="3864215"/>
                  <a:ext cx="3583325" cy="9071"/>
                </a:xfrm>
                <a:prstGeom prst="line">
                  <a:avLst/>
                </a:prstGeom>
                <a:ln w="28575">
                  <a:solidFill>
                    <a:schemeClr val="accent4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FF8F08B-DCEC-5842-9B95-726AB059D256}"/>
                </a:ext>
              </a:extLst>
            </p:cNvPr>
            <p:cNvGrpSpPr/>
            <p:nvPr/>
          </p:nvGrpSpPr>
          <p:grpSpPr>
            <a:xfrm>
              <a:off x="2180725" y="4698122"/>
              <a:ext cx="9858775" cy="1534684"/>
              <a:chOff x="2180725" y="1996793"/>
              <a:chExt cx="9858775" cy="1534684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8F4A73AC-E4E3-B047-8CDF-F855872765EE}"/>
                  </a:ext>
                </a:extLst>
              </p:cNvPr>
              <p:cNvGrpSpPr/>
              <p:nvPr/>
            </p:nvGrpSpPr>
            <p:grpSpPr>
              <a:xfrm>
                <a:off x="2180725" y="1996793"/>
                <a:ext cx="3583325" cy="1534684"/>
                <a:chOff x="3474465" y="3450963"/>
                <a:chExt cx="3583325" cy="1534684"/>
              </a:xfrm>
            </p:grpSpPr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BFCF73C5-65FC-704F-A349-55CF9442001E}"/>
                    </a:ext>
                  </a:extLst>
                </p:cNvPr>
                <p:cNvSpPr txBox="1"/>
                <p:nvPr/>
              </p:nvSpPr>
              <p:spPr>
                <a:xfrm>
                  <a:off x="3667032" y="3450963"/>
                  <a:ext cx="3248274" cy="1534684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b="1" dirty="0">
                      <a:solidFill>
                        <a:schemeClr val="accent6"/>
                      </a:solidFill>
                    </a:rPr>
                    <a:t>Largest Hive Warehouse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endParaRPr lang="en-US" sz="1944" dirty="0"/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2222" b="1" dirty="0"/>
                    <a:t>300+ PB Raw Storage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dirty="0"/>
                    <a:t>(Facebook)</a:t>
                  </a:r>
                </a:p>
              </p:txBody>
            </p:sp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A4FFF625-D4B8-F34F-AB72-674155026B0B}"/>
                    </a:ext>
                  </a:extLst>
                </p:cNvPr>
                <p:cNvCxnSpPr/>
                <p:nvPr/>
              </p:nvCxnSpPr>
              <p:spPr>
                <a:xfrm>
                  <a:off x="3474465" y="3864215"/>
                  <a:ext cx="3583325" cy="9071"/>
                </a:xfrm>
                <a:prstGeom prst="line">
                  <a:avLst/>
                </a:prstGeom>
                <a:ln w="28575">
                  <a:solidFill>
                    <a:schemeClr val="accent4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19149E47-880B-744E-ADB0-D5F50C39F47B}"/>
                  </a:ext>
                </a:extLst>
              </p:cNvPr>
              <p:cNvGrpSpPr/>
              <p:nvPr/>
            </p:nvGrpSpPr>
            <p:grpSpPr>
              <a:xfrm>
                <a:off x="8456175" y="1996793"/>
                <a:ext cx="3583325" cy="1534684"/>
                <a:chOff x="3474465" y="3450963"/>
                <a:chExt cx="3583325" cy="153468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197D52CF-C78A-A54A-88B9-4707A21D7C5B}"/>
                    </a:ext>
                  </a:extLst>
                </p:cNvPr>
                <p:cNvSpPr txBox="1"/>
                <p:nvPr/>
              </p:nvSpPr>
              <p:spPr>
                <a:xfrm>
                  <a:off x="4240903" y="3450963"/>
                  <a:ext cx="2100537" cy="1534684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b="1" dirty="0">
                      <a:solidFill>
                        <a:schemeClr val="accent6"/>
                      </a:solidFill>
                    </a:rPr>
                    <a:t>Largest Cluster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endParaRPr lang="en-US" sz="1944" dirty="0"/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2222" b="1" dirty="0"/>
                    <a:t>4,500+ Nodes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ts val="417"/>
                    </a:spcBef>
                  </a:pPr>
                  <a:r>
                    <a:rPr lang="en-US" sz="1944" dirty="0"/>
                    <a:t>(Yahoo)</a:t>
                  </a:r>
                </a:p>
              </p:txBody>
            </p:sp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E01090D2-DE6B-CB43-926C-8D4A57A504FA}"/>
                    </a:ext>
                  </a:extLst>
                </p:cNvPr>
                <p:cNvCxnSpPr/>
                <p:nvPr/>
              </p:nvCxnSpPr>
              <p:spPr>
                <a:xfrm>
                  <a:off x="3474465" y="3864215"/>
                  <a:ext cx="3583325" cy="9071"/>
                </a:xfrm>
                <a:prstGeom prst="line">
                  <a:avLst/>
                </a:prstGeom>
                <a:ln w="28575">
                  <a:solidFill>
                    <a:schemeClr val="accent4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365301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81C11-C07B-404C-A38F-841EABF8F6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ive’s Unique Advantages in HD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BD14A01-28AE-F54D-BFAB-7B5CE268D7C6}"/>
              </a:ext>
            </a:extLst>
          </p:cNvPr>
          <p:cNvSpPr/>
          <p:nvPr/>
        </p:nvSpPr>
        <p:spPr>
          <a:xfrm>
            <a:off x="701245" y="1844942"/>
            <a:ext cx="6766355" cy="4342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Bef>
                <a:spcPts val="417"/>
              </a:spcBef>
            </a:pPr>
            <a:r>
              <a:rPr lang="en-US" sz="1667" b="1" dirty="0"/>
              <a:t>Why Hive: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Comprehensive ANSI SQL including 99 TPC-DS Queries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The only Hadoop SQL with ACID MERGE for easy updates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Hive on LLAP provides In-Memory caching for MPP performance at Hadoop scale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Per-User dynamic row and column security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Replication and DR for critical workloads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Compatible with every major BI Tool.</a:t>
            </a: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Excellent batch query performance thanks to Hive on </a:t>
            </a:r>
            <a:r>
              <a:rPr lang="en-US" sz="2000" dirty="0" err="1">
                <a:ea typeface="ヒラギノ角ゴ Pro W3" charset="-128"/>
              </a:rPr>
              <a:t>Tez</a:t>
            </a:r>
            <a:endParaRPr lang="en-US" sz="2000" dirty="0">
              <a:ea typeface="ヒラギノ角ゴ Pro W3" charset="-128"/>
            </a:endParaRPr>
          </a:p>
          <a:p>
            <a:pPr marL="342886" indent="-342886" defTabSz="457182" fontAlgn="base">
              <a:lnSpc>
                <a:spcPct val="90000"/>
              </a:lnSpc>
              <a:spcBef>
                <a:spcPts val="15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2" pitchFamily="18" charset="2"/>
              <a:buChar char="Ã"/>
            </a:pPr>
            <a:r>
              <a:rPr lang="en-US" sz="2000" dirty="0">
                <a:ea typeface="ヒラギノ角ゴ Pro W3" charset="-128"/>
              </a:rPr>
              <a:t>Proven at 300+ PB Sca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09B4F8-7068-4842-B1D7-48D2DA5373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9919" y="1844942"/>
            <a:ext cx="2351723" cy="2116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47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rtonworks Presentation Template">
  <a:themeElements>
    <a:clrScheme name="Custom 1">
      <a:dk1>
        <a:srgbClr val="000000"/>
      </a:dk1>
      <a:lt1>
        <a:srgbClr val="1E1E1E"/>
      </a:lt1>
      <a:dk2>
        <a:srgbClr val="FFFFFF"/>
      </a:dk2>
      <a:lt2>
        <a:srgbClr val="FFC61E"/>
      </a:lt2>
      <a:accent1>
        <a:srgbClr val="3FAE2A"/>
      </a:accent1>
      <a:accent2>
        <a:srgbClr val="3DB5E6"/>
      </a:accent2>
      <a:accent3>
        <a:srgbClr val="44697D"/>
      </a:accent3>
      <a:accent4>
        <a:srgbClr val="DAD9D6"/>
      </a:accent4>
      <a:accent5>
        <a:srgbClr val="3B8640"/>
      </a:accent5>
      <a:accent6>
        <a:srgbClr val="FF700A"/>
      </a:accent6>
      <a:hlink>
        <a:srgbClr val="000000"/>
      </a:hlink>
      <a:folHlink>
        <a:srgbClr val="42424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lIns="182880" tIns="182880" rIns="182880" bIns="182880" rtlCol="0" anchor="ctr" anchorCtr="0">
        <a:no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ctr" anchorCtr="0">
        <a:sp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rtonworks_16X9_Template_Mar 1 2016" id="{04EE343F-3A3B-694C-8CCD-8DEFD5C5A376}" vid="{B09C8178-5594-874C-A1FC-3D3E6818EE0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 POV_Retail Banking_VF</Template>
  <TotalTime>3617</TotalTime>
  <Words>540</Words>
  <Application>Microsoft Macintosh PowerPoint</Application>
  <PresentationFormat>Widescreen</PresentationFormat>
  <Paragraphs>99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ヒラギノ角ゴ Pro W3</vt:lpstr>
      <vt:lpstr>Arial</vt:lpstr>
      <vt:lpstr>Calibri</vt:lpstr>
      <vt:lpstr>Lucida Grande</vt:lpstr>
      <vt:lpstr>Noto Sans Symbols</vt:lpstr>
      <vt:lpstr>Wingdings</vt:lpstr>
      <vt:lpstr>Wingdings 2</vt:lpstr>
      <vt:lpstr>Hortonworks Presentation Template</vt:lpstr>
      <vt:lpstr>think-cell Slide</vt:lpstr>
      <vt:lpstr>PowerPoint Presentation</vt:lpstr>
      <vt:lpstr>Alarm Fatigue Overview</vt:lpstr>
      <vt:lpstr>Architecture</vt:lpstr>
      <vt:lpstr>Apache NiFi</vt:lpstr>
      <vt:lpstr>Introducing Hortonworks Streaming Analytics Manager (SAM)</vt:lpstr>
      <vt:lpstr>Stream Builder</vt:lpstr>
      <vt:lpstr>SAM is All about Doing Real-Time Analytics on Streams</vt:lpstr>
      <vt:lpstr>Apache Hive: Fast Facts</vt:lpstr>
      <vt:lpstr>Hive’s Unique Advantages in HDP</vt:lpstr>
      <vt:lpstr>Descriptive Analytics</vt:lpstr>
      <vt:lpstr>Demo</vt:lpstr>
    </vt:vector>
  </TitlesOfParts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en to enter a ticket into for Proposal Request?</dc:title>
  <dc:creator>Amy Holmes</dc:creator>
  <cp:lastModifiedBy>Taylor Herson</cp:lastModifiedBy>
  <cp:revision>63</cp:revision>
  <dcterms:created xsi:type="dcterms:W3CDTF">2017-02-09T17:00:59Z</dcterms:created>
  <dcterms:modified xsi:type="dcterms:W3CDTF">2018-05-18T20:49:45Z</dcterms:modified>
</cp:coreProperties>
</file>